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33006"/>
            <a:ext cx="7991475" cy="4066902"/>
            <a:chOff x="650875" y="1906524"/>
            <a:chExt cx="7991475" cy="4042232"/>
          </a:xfrm>
        </p:grpSpPr>
        <p:sp>
          <p:nvSpPr>
            <p:cNvPr id="24" name="Rechteck 12"/>
            <p:cNvSpPr>
              <a:spLocks noChangeAspect="1"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r>
                <a:rPr lang="en-US" altLang="zh-CN" sz="1200" dirty="0">
                  <a:solidFill>
                    <a:srgbClr val="000000"/>
                  </a:solidFill>
                  <a:ea typeface="宋体" charset="-122"/>
                </a:rPr>
                <a:t>Installation of sensors to measure the chain wear</a:t>
              </a: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9458" name="Objek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en-GB" altLang="fr-FR" dirty="0"/>
              <a:t>Prevent unexpected shutdown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1034" y="1466270"/>
            <a:ext cx="7997825" cy="259161"/>
          </a:xfrm>
        </p:spPr>
        <p:txBody>
          <a:bodyPr/>
          <a:lstStyle/>
          <a:p>
            <a:r>
              <a:rPr lang="fr-FR" altLang="fr-FR" dirty="0"/>
              <a:t>Chain Wear </a:t>
            </a:r>
            <a:r>
              <a:rPr lang="fr-FR" altLang="fr-FR" dirty="0" err="1"/>
              <a:t>Sensor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70560" y="588653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Maintenance, Safety &amp; </a:t>
            </a:r>
            <a:r>
              <a:rPr lang="en-GB" altLang="fr-FR" sz="800" dirty="0" err="1">
                <a:solidFill>
                  <a:srgbClr val="000000"/>
                </a:solidFill>
              </a:rPr>
              <a:t>Ergonomy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kumimoji="0" lang="en-GB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ceano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Hydra, </a:t>
            </a:r>
            <a:r>
              <a:rPr kumimoji="0" lang="en-GB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tlantic,HD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Asia, Aqua</a:t>
            </a:r>
            <a:r>
              <a:rPr lang="en-GB" altLang="fr-FR" sz="800" dirty="0">
                <a:solidFill>
                  <a:srgbClr val="000000"/>
                </a:solidFill>
              </a:rPr>
              <a:t>, NDE (also in competitor machine)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dirty="0">
                <a:solidFill>
                  <a:srgbClr val="000000"/>
                </a:solidFill>
              </a:rPr>
              <a:t>VRB-047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9600" y="2103236"/>
            <a:ext cx="3890963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/>
              <a:t>Constant control of chain w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Keep the control on intervention schedule for chain replacement</a:t>
            </a:r>
            <a:endParaRPr lang="en-GB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4F6395-E3DF-44C1-8D32-0EC5732282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16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F429BFC3-2013-4510-8CAB-D87B3E35EF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4F1584B-3C3A-4CC0-ACFA-B7D7EC9DF9FC}"/>
              </a:ext>
            </a:extLst>
          </p:cNvPr>
          <p:cNvCxnSpPr>
            <a:cxnSpLocks/>
            <a:stCxn id="18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6B0F924-B27D-4088-8777-7B87782D0B4D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3A15E6F-800B-4FA2-B891-49AE5D05D507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439DC9F-602F-472B-9892-D0A98B7FEA4A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0</TotalTime>
  <Words>70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Prevent unexpected shutdown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0</cp:revision>
  <dcterms:created xsi:type="dcterms:W3CDTF">2018-02-10T17:04:39Z</dcterms:created>
  <dcterms:modified xsi:type="dcterms:W3CDTF">2021-06-21T13:3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38:53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